
<file path=[Content_Types].xml><?xml version="1.0" encoding="utf-8"?>
<Types xmlns="http://schemas.openxmlformats.org/package/2006/content-types">
  <Default Extension="jpg" ContentType="image/jpeg"/>
  <Default Extension="wmf" ContentType="image/x-wmf"/>
  <Default Extension="png" ContentType="image/png"/>
  <Default Extension="xml" ContentType="application/xml"/>
  <Default Extension="jpeg" ContentType="image/jpeg"/>
  <Default Extension="rels" ContentType="application/vnd.openxmlformats-package.relationships+xml"/>
  <Default Extension="bin" ContentType="application/vnd.openxmlformats-officedocument.oleObject"/>
  <Override PartName="/ppt/slides/slide23.xml" ContentType="application/vnd.openxmlformats-officedocument.presentationml.slide+xml"/>
  <Override PartName="/ppt/slides/slide21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5.xml" ContentType="application/vnd.openxmlformats-officedocument.presentationml.slide+xml"/>
  <Override PartName="/ppt/slides/slide19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2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Layouts/slideLayout11.xml" ContentType="application/vnd.openxmlformats-officedocument.presentationml.slideLayout+xml"/>
  <Override PartName="/ppt/slides/slide10.xml" ContentType="application/vnd.openxmlformats-officedocument.presentationml.slide+xml"/>
  <Override PartName="/ppt/slides/slide24.xml" ContentType="application/vnd.openxmlformats-officedocument.presentationml.slide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12.xml" ContentType="application/vnd.openxmlformats-officedocument.presentationml.slide+xml"/>
  <Override PartName="/ppt/slides/slide7.xml" ContentType="application/vnd.openxmlformats-officedocument.presentationml.slide+xml"/>
  <Override PartName="/ppt/theme/theme1.xml" ContentType="application/vnd.openxmlformats-officedocument.them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5.xml" ContentType="application/vnd.openxmlformats-officedocument.presentationml.slideLayout+xml"/>
  <Override PartName="/ppt/slides/slide20.xml" ContentType="application/vnd.openxmlformats-officedocument.presentationml.slide+xml"/>
  <Override PartName="/ppt/viewProps.xml" ContentType="application/vnd.openxmlformats-officedocument.presentationml.viewProp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s/slide8.xml" ContentType="application/vnd.openxmlformats-officedocument.presentationml.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6.xml" ContentType="application/vnd.openxmlformats-officedocument.presentationml.slideLayout+xml"/>
  <Override PartName="/ppt/presentation.xml" ContentType="application/vnd.openxmlformats-officedocument.presentationml.presentation.main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SpecialPlsOnTitleSld="0">
  <p:sldMasterIdLst>
    <p:sldMasterId id="2147483648" r:id="rId1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</p:sldIdLst>
  <p:sldSz cx="9144000" cy="6858000" type="screen4x3"/>
  <p:notesSz cx="6858000" cy="9144000"/>
  <p:defaultTextStyle>
    <a:defPPr>
      <a:defRPr lang="de-DE"/>
    </a:defPPr>
    <a:lvl1pPr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1pPr>
    <a:lvl2pPr marL="4572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2pPr>
    <a:lvl3pPr marL="9144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3pPr>
    <a:lvl4pPr marL="13716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4pPr>
    <a:lvl5pPr marL="18288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Arial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Arial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Arial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Arial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FF3BC916-2437-2F1B-356F-283F031CD9C4}">
  <a:tblStyle styleId="{FF3BC916-2437-2F1B-356F-283F031CD9C4}" styleName="Medium Style 2 - Accent 5">
    <a:wholeTbl>
      <a:tcTxStyle>
        <a:fontRef idx="minor"/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/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/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-1236" y="-90"/>
      </p:cViewPr>
      <p:guideLst>
        <p:guide pos="2160"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presProps" Target="presProps.xml" /><Relationship Id="rId28" Type="http://schemas.openxmlformats.org/officeDocument/2006/relationships/tableStyles" Target="tableStyles.xml" /><Relationship Id="rId29" Type="http://schemas.openxmlformats.org/officeDocument/2006/relationships/viewProps" Target="viewProps.xml" /></Relationship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image" Target="../media/image5.jpg"/><Relationship Id="rId4" Type="http://schemas.openxmlformats.org/officeDocument/2006/relationships/image" Target="../media/image6.jpg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type="title" userDrawn="1">
  <p:cSld name="Titelfolie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ctrTitle" hasCustomPrompt="0"/>
          </p:nvPr>
        </p:nvSpPr>
        <p:spPr bwMode="auto"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subTitle" idx="1" hasCustomPrompt="0"/>
          </p:nvPr>
        </p:nvSpPr>
        <p:spPr bwMode="auto"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>
              <a:defRPr/>
            </a:pPr>
            <a:r>
              <a:rPr lang="de-DE"/>
              <a:t>Formatvorlage des Untertitelmasters durch Klicken bearbeiten</a:t>
            </a:r>
            <a:endParaRPr lang="de-DE"/>
          </a:p>
        </p:txBody>
      </p:sp>
      <p:sp>
        <p:nvSpPr>
          <p:cNvPr id="6" name="Line 8" hidden="0"/>
          <p:cNvSpPr>
            <a:spLocks noChangeShapeType="1"/>
          </p:cNvSpPr>
          <p:nvPr isPhoto="0" userDrawn="0"/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7" name="Picture 9" descr="TU_Logo_lang_RGB_rot_PPT-1" hidden="0"/>
          <p:cNvPicPr>
            <a:picLocks noChangeAspect="1" noChangeArrowheads="1"/>
          </p:cNvPicPr>
          <p:nvPr isPhoto="0" userDrawn="0"/>
        </p:nvPicPr>
        <p:blipFill>
          <a:blip r:embed="rId2"/>
          <a:stretch/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name="oleObj" imgW="0" imgH="0" progId="TCLayout.ActiveDocument.1">
              <p:embed/>
              <p:pic>
                <p:nvPicPr>
                  <p:cNvPr id="8" name="" hidden="0"/>
                  <p:cNvPicPr/>
                  <p:nvPr isPhoto="0" userDrawn="0"/>
                </p:nvPicPr>
                <p:blipFill>
                  <a:blip r:embed="rId3"/>
                  <a:stretch/>
                </p:blipFill>
                <p:spPr bwMode="auto">
                  <a:xfrm>
                    <a:off x="0" y="0"/>
                    <a:ext cx="158750" cy="15875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9" name="Picture 19" descr="TU_130227_PPT_Bild-Hausecke" hidden="0"/>
          <p:cNvPicPr>
            <a:picLocks noChangeAspect="1" noChangeArrowheads="1"/>
          </p:cNvPicPr>
          <p:nvPr isPhoto="0" userDrawn="0"/>
        </p:nvPicPr>
        <p:blipFill>
          <a:blip r:embed="rId4"/>
          <a:stretch/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x" userDrawn="1">
  <p:cSld name="Titel und vertikaler Tex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Vertikaler Textplatzhalter 2" hidden="0"/>
          <p:cNvSpPr>
            <a:spLocks noGrp="1"/>
          </p:cNvSpPr>
          <p:nvPr isPhoto="0" userDrawn="0">
            <p:ph type="body" orient="vert" idx="1" hasCustomPrompt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7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EEDA23C7-85BB-4E54-B97B-635B21ED0F9C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itleAndTx" userDrawn="1">
  <p:cSld name="Vertikaler Titel und Tex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Vertikaler Titel 1" hidden="0"/>
          <p:cNvSpPr>
            <a:spLocks noGrp="1"/>
          </p:cNvSpPr>
          <p:nvPr isPhoto="0" userDrawn="0">
            <p:ph type="title" orient="vert" hasCustomPrompt="0"/>
          </p:nvPr>
        </p:nvSpPr>
        <p:spPr bwMode="auto">
          <a:xfrm>
            <a:off x="6586538" y="1717675"/>
            <a:ext cx="2014537" cy="4273550"/>
          </a:xfrm>
        </p:spPr>
        <p:txBody>
          <a:bodyPr vert="eaVert"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Vertikaler Textplatzhalter 2" hidden="0"/>
          <p:cNvSpPr>
            <a:spLocks noGrp="1"/>
          </p:cNvSpPr>
          <p:nvPr isPhoto="0" userDrawn="0">
            <p:ph type="body" orient="vert" idx="1" hasCustomPrompt="1"/>
          </p:nvPr>
        </p:nvSpPr>
        <p:spPr bwMode="auto">
          <a:xfrm>
            <a:off x="539750" y="1717675"/>
            <a:ext cx="5894388" cy="4273550"/>
          </a:xfrm>
        </p:spPr>
        <p:txBody>
          <a:bodyPr vert="eaVert"/>
          <a:lstStyle/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7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AAA547C2-1FFB-4A16-AA13-58B4AAE5896E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Titel und Inhal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/>
        <p:txBody>
          <a:bodyPr/>
          <a:lstStyle>
            <a:lvl1pPr>
              <a:defRPr sz="2200"/>
            </a:lvl1pPr>
            <a:lvl2pPr algn="l">
              <a:defRPr sz="2000"/>
            </a:lvl2pPr>
            <a:lvl3pPr>
              <a:defRPr sz="1800"/>
            </a:lvl3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5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50" y="6165304"/>
            <a:ext cx="6624638" cy="35932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</a:t>
            </a:r>
            <a:br>
              <a:rPr lang="de-DE"/>
            </a:br>
            <a:r>
              <a:rPr lang="de-DE"/>
              <a:t>Philipp Wachholz, Johannes Beyer, Jonas Gläsel</a:t>
            </a:r>
            <a:endParaRPr lang="de-DE" b="0"/>
          </a:p>
        </p:txBody>
      </p:sp>
      <p:sp>
        <p:nvSpPr>
          <p:cNvPr id="6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65841511-618F-4388-9EAD-B3A0151A7863}" type="slidenum">
              <a:rPr lang="de-DE"/>
              <a:t/>
            </a:fld>
            <a:endParaRPr lang="de-DE"/>
          </a:p>
        </p:txBody>
      </p:sp>
      <p:sp>
        <p:nvSpPr>
          <p:cNvPr id="7" name="Titel 7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secHead" userDrawn="1">
  <p:cSld name="Abschnitts- überschrif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Textplatzhalter 2" hidden="0"/>
          <p:cNvSpPr>
            <a:spLocks noGrp="1"/>
          </p:cNvSpPr>
          <p:nvPr isPhoto="0" userDrawn="0">
            <p:ph type="body" idx="1" hasCustomPrompt="1"/>
          </p:nvPr>
        </p:nvSpPr>
        <p:spPr bwMode="auto"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6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7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241A31A7-8E36-4719-9DDE-5FDEF3705DC2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Obj" userDrawn="1">
  <p:cSld name="Zwei Inhalte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Inhaltsplatzhalter 2" hidden="0"/>
          <p:cNvSpPr>
            <a:spLocks noGrp="1"/>
          </p:cNvSpPr>
          <p:nvPr isPhoto="0" userDrawn="0">
            <p:ph sz="half" idx="1" hasCustomPrompt="1"/>
          </p:nvPr>
        </p:nvSpPr>
        <p:spPr bwMode="auto"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Inhaltsplatzhalter 3" hidden="0"/>
          <p:cNvSpPr>
            <a:spLocks noGrp="1"/>
          </p:cNvSpPr>
          <p:nvPr isPhoto="0" userDrawn="0">
            <p:ph sz="half" idx="2" hasCustomPrompt="1"/>
          </p:nvPr>
        </p:nvSpPr>
        <p:spPr bwMode="auto"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7" name="Fußzeilenplatzhalter 4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Foliennummernplatzhalter 5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9CB4FC05-3909-4472-9015-F5D2E1681A1E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TxTwoObj" userDrawn="1">
  <p:cSld name="Vergleich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Textplatzhalter 2" hidden="0"/>
          <p:cNvSpPr>
            <a:spLocks noGrp="1"/>
          </p:cNvSpPr>
          <p:nvPr isPhoto="0" userDrawn="0">
            <p:ph type="body" idx="1" hasCustomPrompt="1"/>
          </p:nvPr>
        </p:nvSpPr>
        <p:spPr bwMode="auto"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6" name="Inhaltsplatzhalter 3" hidden="0"/>
          <p:cNvSpPr>
            <a:spLocks noGrp="1"/>
          </p:cNvSpPr>
          <p:nvPr isPhoto="0" userDrawn="0">
            <p:ph sz="half" idx="2" hasCustomPrompt="1"/>
          </p:nvPr>
        </p:nvSpPr>
        <p:spPr bwMode="auto"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7" name="Textplatzhalter 4" hidden="0"/>
          <p:cNvSpPr>
            <a:spLocks noGrp="1"/>
          </p:cNvSpPr>
          <p:nvPr isPhoto="0" userDrawn="0">
            <p:ph type="body" sz="quarter" idx="3" hasCustomPrompt="1"/>
          </p:nvPr>
        </p:nvSpPr>
        <p:spPr bwMode="auto"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8" name="Inhaltsplatzhalter 5" hidden="0"/>
          <p:cNvSpPr>
            <a:spLocks noGrp="1"/>
          </p:cNvSpPr>
          <p:nvPr isPhoto="0" userDrawn="0">
            <p:ph sz="quarter" idx="4" hasCustomPrompt="1"/>
          </p:nvPr>
        </p:nvSpPr>
        <p:spPr bwMode="auto"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9" name="Fußzeilenplatzhalter 6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10" name="Foliennummernplatzhalter 7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B5BFDD8F-F7F0-42B9-98A4-E869A0422F6B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Only" userDrawn="1">
  <p:cSld name="Nur Titel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Fußzeilenplatzhalter 2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6" name="Foliennummernplatzhalter 3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F56FDDA-3F2E-470D-A9ED-B206B73FCB27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blank" userDrawn="1">
  <p:cSld name="Leer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1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5" name="Foliennummernplatzhalter 2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2D9CA35F-83D8-4901-9F84-1A4D4DEB593A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objTx" userDrawn="1">
  <p:cSld name="Inhalt mit Überschrif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Textplatzhalter 3" hidden="0"/>
          <p:cNvSpPr>
            <a:spLocks noGrp="1"/>
          </p:cNvSpPr>
          <p:nvPr isPhoto="0" userDrawn="0">
            <p:ph type="body" sz="half" idx="2" hasCustomPrompt="1"/>
          </p:nvPr>
        </p:nvSpPr>
        <p:spPr bwMode="auto"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7" name="Fußzeilenplatzhalter 4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Foliennummernplatzhalter 5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F03C1D23-040A-4D31-8B12-147E36BCFA52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picTx" userDrawn="1">
  <p:cSld name="Bild mit Überschrif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Bildplatzhalter 2" hidden="0"/>
          <p:cNvSpPr>
            <a:spLocks noGrp="1"/>
          </p:cNvSpPr>
          <p:nvPr isPhoto="0" userDrawn="0">
            <p:ph type="pic" idx="1" hasCustomPrompt="0"/>
          </p:nvPr>
        </p:nvSpPr>
        <p:spPr bwMode="auto"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de-DE"/>
          </a:p>
        </p:txBody>
      </p:sp>
      <p:sp>
        <p:nvSpPr>
          <p:cNvPr id="6" name="Textplatzhalter 3" hidden="0"/>
          <p:cNvSpPr>
            <a:spLocks noGrp="1"/>
          </p:cNvSpPr>
          <p:nvPr isPhoto="0" userDrawn="0">
            <p:ph type="body" sz="half" idx="2" hasCustomPrompt="1"/>
          </p:nvPr>
        </p:nvSpPr>
        <p:spPr bwMode="auto"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7" name="Fußzeilenplatzhalter 4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Foliennummernplatzhalter 5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59627F33-462D-4969-BE13-7E41295B1B0F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g"/><Relationship Id="rId14" Type="http://schemas.openxmlformats.org/officeDocument/2006/relationships/image" Target="../media/image2.jpg"/><Relationship Id="rId15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Pr shadeToTitle="0">
        <a:solidFill>
          <a:schemeClr val="bg1"/>
        </a:solidFill>
      </p:bgPr>
    </p:bg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lvl="0">
              <a:defRPr/>
            </a:pPr>
            <a:r>
              <a:rPr lang="de-DE"/>
              <a:t>Titel durch Klicken hinzufügen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/>
          <a:lstStyle/>
          <a:p>
            <a:pPr lvl="0">
              <a:defRPr/>
            </a:pPr>
            <a:r>
              <a:rPr lang="de-DE"/>
              <a:t>Text durck Klicken hinzufügen</a:t>
            </a:r>
            <a:endParaRPr lang="de-DE"/>
          </a:p>
          <a:p>
            <a:pPr lvl="1">
              <a:defRPr/>
            </a:pPr>
            <a:r>
              <a:rPr lang="de-DE"/>
              <a:t>Xxx</a:t>
            </a:r>
            <a:endParaRPr lang="de-DE"/>
          </a:p>
        </p:txBody>
      </p:sp>
      <p:pic>
        <p:nvPicPr>
          <p:cNvPr id="6" name="Picture 7" descr="TU_Logo_lang_RGB_rot_PPT-2" hidden="0"/>
          <p:cNvPicPr>
            <a:picLocks noChangeAspect="1" noChangeArrowheads="1"/>
          </p:cNvPicPr>
          <p:nvPr isPhoto="0" userDrawn="0"/>
        </p:nvPicPr>
        <p:blipFill>
          <a:blip r:embed="rId13"/>
          <a:stretch/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7" name="Rectangle 13" hidden="0"/>
          <p:cNvSpPr>
            <a:spLocks noChangeArrowheads="1" noGrp="1"/>
          </p:cNvSpPr>
          <p:nvPr isPhoto="0" userDrawn="0">
            <p:ph type="ftr" sz="quarter" idx="3" hasCustomPrompt="0"/>
          </p:nvPr>
        </p:nvSpPr>
        <p:spPr bwMode="auto">
          <a:xfrm>
            <a:off x="572988" y="6202363"/>
            <a:ext cx="6624638" cy="1524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/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Rectangle 14" hidden="0"/>
          <p:cNvSpPr>
            <a:spLocks noChangeArrowheads="1" noGrp="1"/>
          </p:cNvSpPr>
          <p:nvPr isPhoto="0" userDrawn="0">
            <p:ph type="sldNum" sz="quarter" idx="4" hasCustomPrompt="0"/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Seite </a:t>
            </a:r>
            <a:fld id="{320F1736-2C7C-46B9-B423-D7E8EB620A5E}" type="slidenum">
              <a:rPr lang="de-DE"/>
              <a:t/>
            </a:fld>
            <a:endParaRPr lang="de-DE"/>
          </a:p>
        </p:txBody>
      </p:sp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name="oleObj" imgW="0" imgH="0" progId="TCLayout.ActiveDocument.1">
              <p:embed/>
              <p:pic>
                <p:nvPicPr>
                  <p:cNvPr id="9" name="" hidden="0"/>
                  <p:cNvPicPr/>
                  <p:nvPr isPhoto="0" userDrawn="0"/>
                </p:nvPicPr>
                <p:blipFill>
                  <a:blip r:embed="rId14"/>
                  <a:stretch/>
                </p:blipFill>
                <p:spPr bwMode="auto">
                  <a:xfrm>
                    <a:off x="0" y="0"/>
                    <a:ext cx="158750" cy="15875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0" name="Picture 22" descr="TU_130227_PPT_Bild-Hausecke_Streifen" hidden="0"/>
          <p:cNvPicPr>
            <a:picLocks noChangeAspect="1" noChangeArrowheads="1"/>
          </p:cNvPicPr>
          <p:nvPr isPhoto="0" userDrawn="0"/>
        </p:nvPicPr>
        <p:blipFill>
          <a:blip r:embed="rId15"/>
          <a:stretch/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accent1="accent1" accent2="accent2" accent3="accent3" accent4="accent4" accent5="accent5" accent6="accent6" bg1="lt1" bg2="lt2" folHlink="folHlink" hlink="hlink" tx1="dk1" tx2="dk2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dt="1" ftr="1" hdr="0" sldNum="1"/>
  <p:txStyles>
    <p:titleStyle>
      <a:lvl1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2pPr>
      <a:lvl3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3pPr>
      <a:lvl4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4pPr>
      <a:lvl5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5pPr>
      <a:lvl6pPr marL="4572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6pPr>
      <a:lvl7pPr marL="9144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7pPr>
      <a:lvl8pPr marL="13716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8pPr>
      <a:lvl9pPr marL="18288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9pPr>
    </p:titleStyle>
    <p:bodyStyle>
      <a:lvl1pPr marL="342900" indent="-342900" algn="l">
        <a:lnSpc>
          <a:spcPts val="2200"/>
        </a:lnSpc>
        <a:spcBef>
          <a:spcPts val="0"/>
        </a:spcBef>
        <a:spcAft>
          <a:spcPts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>
        <a:spcBef>
          <a:spcPts val="0"/>
        </a:spcBef>
        <a:spcAft>
          <a:spcPts val="0"/>
        </a:spcAft>
        <a:buFont typeface="Arial"/>
        <a:buChar char="–"/>
        <a:defRPr sz="1400">
          <a:solidFill>
            <a:srgbClr val="000000"/>
          </a:solidFill>
          <a:latin typeface="+mn-lt"/>
        </a:defRPr>
      </a:lvl2pPr>
      <a:lvl3pPr marL="1192530" indent="-228600" algn="l">
        <a:spcBef>
          <a:spcPts val="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>
        <a:spcBef>
          <a:spcPts val="0"/>
        </a:spcBef>
        <a:spcAft>
          <a:spcPts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s/_rels/slide1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1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1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s/_rels/slide1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ctrTitle" hasCustomPrompt="0"/>
          </p:nvPr>
        </p:nvSpPr>
        <p:spPr bwMode="auto">
          <a:xfrm>
            <a:off x="539552" y="4629001"/>
            <a:ext cx="8496944" cy="384175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subTitle" idx="1" hasCustomPrompt="0"/>
          </p:nvPr>
        </p:nvSpPr>
        <p:spPr bwMode="auto">
          <a:xfrm>
            <a:off x="539750" y="5667341"/>
            <a:ext cx="8061325" cy="281940"/>
          </a:xfrm>
        </p:spPr>
        <p:txBody>
          <a:bodyPr/>
          <a:lstStyle/>
          <a:p>
            <a:pPr>
              <a:defRPr/>
            </a:pPr>
            <a:r>
              <a:rPr lang="de-DE" sz="1800"/>
              <a:t>Anna Mockenhaupt, Berit Frech, Johannes Beyer</a:t>
            </a:r>
            <a:endParaRPr lang="de-DE" sz="18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/>
        <p:txBody>
          <a:bodyPr/>
          <a:lstStyle>
            <a:lvl1pPr>
              <a:defRPr sz="2200"/>
            </a:lvl1pPr>
            <a:lvl2pPr algn="l">
              <a:defRPr sz="2000"/>
            </a:lvl2pPr>
            <a:lvl3pPr>
              <a:defRPr sz="1800"/>
            </a:lvl3pPr>
          </a:lstStyle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Settings und API Calls der alten UI bleiben bestehen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Hinzufügen fehlender Beschreibungen zu den einzelnen Features 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Neue, übersichtlichere Anordnung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Umsetzung neuer Features 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Darstellung der FlowCharts mit neuer Library </a:t>
            </a:r>
            <a:b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5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6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C6D007A7-0F52-B17F-4A75-4D7085ED15FD}" type="slidenum">
              <a:rPr lang="de-DE"/>
              <a:t/>
            </a:fld>
            <a:endParaRPr lang="de-DE"/>
          </a:p>
        </p:txBody>
      </p:sp>
      <p:sp>
        <p:nvSpPr>
          <p:cNvPr id="7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9" y="1718034"/>
            <a:ext cx="8061720" cy="381035"/>
          </a:xfrm>
        </p:spPr>
        <p:txBody>
          <a:bodyPr/>
          <a:lstStyle/>
          <a:p>
            <a:pPr>
              <a:defRPr/>
            </a:pPr>
            <a:r>
              <a:rPr/>
              <a:t>Neue UI: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C574EFDE-8FCF-4847-5984-92BC473737C8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9" y="1718754"/>
            <a:ext cx="8062440" cy="381035"/>
          </a:xfrm>
        </p:spPr>
        <p:txBody>
          <a:bodyPr/>
          <a:lstStyle/>
          <a:p>
            <a:pPr>
              <a:defRPr/>
            </a:pPr>
            <a:r>
              <a:rPr/>
              <a:t>Neue Features: Initial Settings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427027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ettings/API Call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43068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mitBitrateByPortal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</a:t>
                      </a:r>
                      <a:endParaRPr sz="1200"/>
                    </a:p>
                  </a:txBody>
                  <a:tcPr/>
                </a:tc>
              </a:tr>
              <a:tr h="585714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PixelRatioInLimitBitrate</a:t>
                      </a:r>
                      <a:endParaRPr lang="de-DE" sz="1200" b="0" i="0" u="none" strike="noStrike" cap="none" spc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yPortal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</a:t>
                      </a:r>
                      <a:endParaRPr sz="1200"/>
                    </a:p>
                  </a:txBody>
                  <a:tcPr/>
                </a:tc>
              </a:tr>
              <a:tr h="596715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xRepresentationRatio</a:t>
                      </a:r>
                      <a:endParaRPr lang="de-DE" sz="1200" b="0" i="0" u="none" strike="noStrike" cap="none" spc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audio, video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</a:t>
                      </a:r>
                      <a:endParaRPr sz="1200"/>
                    </a:p>
                  </a:txBody>
                  <a:tcPr/>
                </a:tc>
              </a:tr>
              <a:tr h="592485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lRepresentationRatio</a:t>
                      </a:r>
                      <a:endParaRPr lang="de-DE" sz="1200" b="0" i="0" u="none" strike="noStrike" cap="none" spc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audio, video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</a:t>
                      </a:r>
                      <a:endParaRPr sz="1200"/>
                    </a:p>
                  </a:txBody>
                  <a:tcPr/>
                </a:tc>
              </a:tr>
              <a:tr h="592485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SwitchBitrate (audio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Checkbox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367C2319-0EE3-963B-8844-976A0A0A3D89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9" y="1718610"/>
            <a:ext cx="8062296" cy="381035"/>
          </a:xfrm>
        </p:spPr>
        <p:txBody>
          <a:bodyPr/>
          <a:lstStyle/>
          <a:p>
            <a:pPr>
              <a:defRPr/>
            </a:pPr>
            <a:r>
              <a:rPr/>
              <a:t>Neue Features: ABR Strategy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446078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ettings/API Call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49418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ndwidthSafetyFacto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uble between 0 and 1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hieberegler (Schritte: 0.1)</a:t>
                      </a:r>
                      <a:endParaRPr sz="1200"/>
                    </a:p>
                  </a:txBody>
                  <a:tcPr/>
                </a:tc>
              </a:tr>
              <a:tr h="592063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vingAverageMetho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LIDING_WINDOW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WMA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dio Button</a:t>
                      </a:r>
                      <a:endParaRPr sz="1200"/>
                    </a:p>
                  </a:txBody>
                  <a:tcPr/>
                </a:tc>
              </a:tr>
              <a:tr h="603065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addABRCustomRul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type: string (qualitySwitchRules or abandonFragmentsRules)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sz="1200"/>
                        <a:t>rulename: string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sz="1200"/>
                        <a:t>rule: object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Input Fields for Strings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sz="1200"/>
                        <a:t>Possibility to upload File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8C08FA6D-F96E-2DBB-BC17-353CBE24F40E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9" y="1718898"/>
            <a:ext cx="8062584" cy="381035"/>
          </a:xfrm>
        </p:spPr>
        <p:txBody>
          <a:bodyPr/>
          <a:lstStyle/>
          <a:p>
            <a:pPr>
              <a:defRPr/>
            </a:pPr>
            <a:r>
              <a:rPr/>
              <a:t>Neue Features: Buffer Einstellungen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465127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ettings/API Call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55769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bleBufferTim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(time in seconds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ault: 12</a:t>
                      </a:r>
                      <a:endParaRPr sz="1200"/>
                    </a:p>
                  </a:txBody>
                  <a:tcPr/>
                </a:tc>
              </a:tr>
              <a:tr h="598413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allGapLimit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(time in seconds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Field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ault: 1.5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6" cy="35931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427198B5-EB93-1CF3-05E4-E2D65016CCCB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8897"/>
            <a:ext cx="8062583" cy="381034"/>
          </a:xfrm>
        </p:spPr>
        <p:txBody>
          <a:bodyPr/>
          <a:lstStyle/>
          <a:p>
            <a:pPr>
              <a:defRPr/>
            </a:pPr>
            <a:r>
              <a:rPr/>
              <a:t>Neue Features: Low Latency Mode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446078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ettings/API Call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49418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veCatchUpMinDrift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between 0.0 and 0.5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ault: 0.02</a:t>
                      </a:r>
                      <a:endParaRPr sz="1200"/>
                    </a:p>
                  </a:txBody>
                  <a:tcPr/>
                </a:tc>
              </a:tr>
              <a:tr h="592063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veCatchUpMaxDrift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ault: 0</a:t>
                      </a:r>
                      <a:endParaRPr sz="1200"/>
                    </a:p>
                  </a:txBody>
                  <a:tcPr/>
                </a:tc>
              </a:tr>
              <a:tr h="603065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veCatchUpPlaybackRat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between 0 and 1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ault: 0.5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+/- Buttons </a:t>
                      </a:r>
                      <a:endParaRPr sz="1200"/>
                    </a:p>
                  </a:txBody>
                  <a:tcPr/>
                </a:tc>
              </a:tr>
              <a:tr h="598835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veCatchUpLatency</a:t>
                      </a:r>
                      <a:endParaRPr lang="de-DE" sz="1200" b="0" i="0" u="none" strike="noStrike" cap="none" spc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reshol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(seconds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ault: NaN</a:t>
                      </a:r>
                      <a:endParaRPr sz="1200"/>
                    </a:p>
                  </a:txBody>
                  <a:tcPr/>
                </a:tc>
              </a:tr>
              <a:tr h="598835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liveDelay</a:t>
                      </a:r>
                      <a:endParaRPr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Number (seconds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Input Field</a:t>
                      </a:r>
                      <a:endParaRPr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88F219BB-6373-908B-B45A-96F3BAC3018C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652"/>
            <a:ext cx="8063339" cy="381035"/>
          </a:xfrm>
        </p:spPr>
        <p:txBody>
          <a:bodyPr/>
          <a:lstStyle/>
          <a:p>
            <a:pPr>
              <a:defRPr/>
            </a:pPr>
            <a:r>
              <a:rPr/>
              <a:t>Neue UI Mockups</a:t>
            </a:r>
            <a:endParaRPr/>
          </a:p>
        </p:txBody>
      </p:sp>
      <p:pic>
        <p:nvPicPr>
          <p:cNvPr id="7" name="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 flipH="0" flipV="0">
            <a:off x="5020412" y="2185032"/>
            <a:ext cx="3780242" cy="3394543"/>
          </a:xfrm>
          <a:prstGeom prst="rect">
            <a:avLst/>
          </a:prstGeom>
        </p:spPr>
      </p:pic>
      <p:pic>
        <p:nvPicPr>
          <p:cNvPr id="8" name="" hidden="0"/>
          <p:cNvPicPr>
            <a:picLocks noChangeAspect="1"/>
          </p:cNvPicPr>
          <p:nvPr isPhoto="0" userDrawn="0"/>
        </p:nvPicPr>
        <p:blipFill>
          <a:blip r:embed="rId3"/>
          <a:stretch/>
        </p:blipFill>
        <p:spPr bwMode="auto">
          <a:xfrm flipH="0" flipV="0">
            <a:off x="324396" y="2253068"/>
            <a:ext cx="4491332" cy="314229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6" cy="35931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3535BC4-7A78-17EB-6289-A2CC0E549A34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652"/>
            <a:ext cx="8063339" cy="381035"/>
          </a:xfrm>
        </p:spPr>
        <p:txBody>
          <a:bodyPr/>
          <a:lstStyle/>
          <a:p>
            <a:pPr>
              <a:defRPr/>
            </a:pPr>
            <a:r>
              <a:rPr/>
              <a:t>Neue UI Mockups</a:t>
            </a:r>
            <a:endParaRPr/>
          </a:p>
        </p:txBody>
      </p:sp>
      <p:pic>
        <p:nvPicPr>
          <p:cNvPr id="7" name="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 flipH="0" flipV="0">
            <a:off x="477642" y="1592035"/>
            <a:ext cx="6524241" cy="453978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6" cy="35931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DC614DD-F00D-94EF-DE17-04945C128730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652"/>
            <a:ext cx="8063339" cy="381035"/>
          </a:xfrm>
        </p:spPr>
        <p:txBody>
          <a:bodyPr/>
          <a:lstStyle/>
          <a:p>
            <a:pPr>
              <a:defRPr/>
            </a:pPr>
            <a:r>
              <a:rPr/>
              <a:t>Neue UI Mockups</a:t>
            </a:r>
            <a:endParaRPr/>
          </a:p>
        </p:txBody>
      </p:sp>
      <p:pic>
        <p:nvPicPr>
          <p:cNvPr id="7" name="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 flipH="0" flipV="0">
            <a:off x="452930" y="1496785"/>
            <a:ext cx="7222890" cy="4552655"/>
          </a:xfrm>
          <a:prstGeom prst="rect">
            <a:avLst/>
          </a:prstGeom>
        </p:spPr>
      </p:pic>
      <p:grpSp>
        <p:nvGrpSpPr>
          <p:cNvPr id="8" name="" hidden="0"/>
          <p:cNvGrpSpPr/>
          <p:nvPr isPhoto="0" userDrawn="0"/>
        </p:nvGrpSpPr>
        <p:grpSpPr bwMode="auto">
          <a:xfrm>
            <a:off x="639071" y="2245178"/>
            <a:ext cx="4893623" cy="2741839"/>
            <a:chOff x="0" y="0"/>
            <a:chExt cx="4893623" cy="2741839"/>
          </a:xfrm>
        </p:grpSpPr>
        <p:sp>
          <p:nvSpPr>
            <p:cNvPr id="9" name="" hidden="0"/>
            <p:cNvSpPr/>
            <p:nvPr isPhoto="0" userDrawn="0"/>
          </p:nvSpPr>
          <p:spPr bwMode="auto">
            <a:xfrm flipH="0" flipV="0">
              <a:off x="1253713" y="0"/>
              <a:ext cx="1170214" cy="2721428"/>
            </a:xfrm>
            <a:prstGeom prst="rect">
              <a:avLst/>
            </a:prstGeom>
            <a:noFill/>
            <a:ln w="38099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" hidden="0"/>
            <p:cNvSpPr/>
            <p:nvPr isPhoto="0" userDrawn="0"/>
          </p:nvSpPr>
          <p:spPr bwMode="auto">
            <a:xfrm flipH="0" flipV="0">
              <a:off x="2498767" y="653142"/>
              <a:ext cx="1170213" cy="530678"/>
            </a:xfrm>
            <a:prstGeom prst="rect">
              <a:avLst/>
            </a:prstGeom>
            <a:noFill/>
            <a:ln w="38099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" hidden="0"/>
            <p:cNvSpPr/>
            <p:nvPr isPhoto="0" userDrawn="0"/>
          </p:nvSpPr>
          <p:spPr bwMode="auto">
            <a:xfrm flipH="0" flipV="0">
              <a:off x="3723408" y="2020660"/>
              <a:ext cx="1170213" cy="721178"/>
            </a:xfrm>
            <a:prstGeom prst="rect">
              <a:avLst/>
            </a:prstGeom>
            <a:noFill/>
            <a:ln w="38099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" hidden="0"/>
            <p:cNvSpPr/>
            <p:nvPr isPhoto="0" userDrawn="0"/>
          </p:nvSpPr>
          <p:spPr bwMode="auto">
            <a:xfrm flipH="0" flipV="0">
              <a:off x="0" y="1449159"/>
              <a:ext cx="1170213" cy="89683"/>
            </a:xfrm>
            <a:prstGeom prst="rect">
              <a:avLst/>
            </a:prstGeom>
            <a:noFill/>
            <a:ln w="38099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6" cy="35931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5CB7EBD6-496C-AB3D-8A6B-D32E05D31AE5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652"/>
            <a:ext cx="8063339" cy="381035"/>
          </a:xfrm>
        </p:spPr>
        <p:txBody>
          <a:bodyPr/>
          <a:lstStyle/>
          <a:p>
            <a:pPr>
              <a:defRPr/>
            </a:pPr>
            <a:r>
              <a:rPr/>
              <a:t>Neue UI Mockups</a:t>
            </a:r>
            <a:endParaRPr/>
          </a:p>
        </p:txBody>
      </p:sp>
      <p:pic>
        <p:nvPicPr>
          <p:cNvPr id="7" name="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 flipH="0" flipV="0">
            <a:off x="475765" y="2209799"/>
            <a:ext cx="5420694" cy="3771900"/>
          </a:xfrm>
          <a:prstGeom prst="rect">
            <a:avLst/>
          </a:prstGeom>
        </p:spPr>
      </p:pic>
      <p:pic>
        <p:nvPicPr>
          <p:cNvPr id="8" name="" hidden="0"/>
          <p:cNvPicPr>
            <a:picLocks noChangeAspect="1"/>
          </p:cNvPicPr>
          <p:nvPr isPhoto="0" userDrawn="0"/>
        </p:nvPicPr>
        <p:blipFill>
          <a:blip r:embed="rId3"/>
          <a:stretch/>
        </p:blipFill>
        <p:spPr bwMode="auto">
          <a:xfrm flipH="0" flipV="0">
            <a:off x="539749" y="1637227"/>
            <a:ext cx="7581867" cy="436352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6" cy="35931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4B8DD81C-0D5A-5FEF-15CB-534FCFDAAA63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652"/>
            <a:ext cx="8063339" cy="381035"/>
          </a:xfrm>
        </p:spPr>
        <p:txBody>
          <a:bodyPr/>
          <a:lstStyle/>
          <a:p>
            <a:pPr>
              <a:defRPr/>
            </a:pPr>
            <a:r>
              <a:rPr/>
              <a:t>Neue UI Mockups</a:t>
            </a:r>
            <a:endParaRPr/>
          </a:p>
        </p:txBody>
      </p:sp>
      <p:pic>
        <p:nvPicPr>
          <p:cNvPr id="7" name="" hidden="0"/>
          <p:cNvPicPr>
            <a:picLocks noChangeAspect="1"/>
          </p:cNvPicPr>
          <p:nvPr isPhoto="0" userDrawn="0"/>
        </p:nvPicPr>
        <p:blipFill>
          <a:blip r:embed="rId2"/>
          <a:stretch/>
        </p:blipFill>
        <p:spPr bwMode="auto">
          <a:xfrm flipH="0" flipV="0">
            <a:off x="539749" y="1551479"/>
            <a:ext cx="5503777" cy="449761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50" y="6165304"/>
            <a:ext cx="6624638" cy="359321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5A61F839-630F-40B2-A5ED-B119E53D6DDC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8572"/>
            <a:ext cx="8062258" cy="381035"/>
          </a:xfrm>
        </p:spPr>
        <p:txBody>
          <a:bodyPr/>
          <a:lstStyle/>
          <a:p>
            <a:pPr>
              <a:defRPr/>
            </a:pPr>
            <a:r>
              <a:rPr lang="de-DE" sz="2400" b="0"/>
              <a:t>Gliederung</a:t>
            </a:r>
            <a:endParaRPr sz="2400" b="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 flipH="0" flipV="0">
            <a:off x="539749" y="2228850"/>
            <a:ext cx="8136705" cy="3762374"/>
          </a:xfrm>
        </p:spPr>
        <p:txBody>
          <a:bodyPr/>
          <a:lstStyle/>
          <a:p>
            <a:pPr marL="261850" indent="-261850">
              <a:lnSpc>
                <a:spcPct val="150000"/>
              </a:lnSpc>
              <a:buAutoNum type="arabicPeriod"/>
              <a:defRPr/>
            </a:pPr>
            <a:r>
              <a:rPr lang="fr-FR" sz="1600">
                <a:latin typeface="Arial"/>
                <a:ea typeface="Arial"/>
                <a:cs typeface="Arial"/>
              </a:rPr>
              <a:t>Problemstellung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AutoNum type="arabicPeriod"/>
              <a:defRPr/>
            </a:pPr>
            <a:r>
              <a:rPr lang="de-DE" sz="1600">
                <a:latin typeface="Arial"/>
                <a:ea typeface="Arial"/>
                <a:cs typeface="Arial"/>
              </a:rPr>
              <a:t>Aktuelle</a:t>
            </a: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UI: 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899" lvl="1" indent="-261849">
              <a:lnSpc>
                <a:spcPct val="15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Issues</a:t>
            </a:r>
            <a:endParaRPr lang="de-DE" sz="1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899" lvl="1" indent="-261849">
              <a:lnSpc>
                <a:spcPct val="15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Unterstütze Features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Zusätzliche Features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UI Mockup</a:t>
            </a:r>
            <a:endParaRPr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Implementierung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900" lvl="1" indent="-261850">
              <a:lnSpc>
                <a:spcPct val="15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Frameworks</a:t>
            </a:r>
            <a:endParaRPr lang="de-DE" sz="1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900" lvl="1" indent="-261850">
              <a:lnSpc>
                <a:spcPct val="15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Organisation und Zeitplan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AutoNum type="arabicPeriod"/>
              <a:defRPr/>
            </a:pPr>
            <a:endParaRPr sz="1600"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0BA872AD-E56A-C456-561C-E42AF26F5539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9790"/>
            <a:ext cx="8063480" cy="381035"/>
          </a:xfrm>
        </p:spPr>
        <p:txBody>
          <a:bodyPr/>
          <a:lstStyle/>
          <a:p>
            <a:pPr>
              <a:defRPr/>
            </a:pPr>
            <a:r>
              <a:rPr lang="de-DE" sz="2400" b="0" u="none"/>
              <a:t>Implementierung </a:t>
            </a:r>
            <a:endParaRPr sz="2400" b="1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49" y="2349499"/>
            <a:ext cx="8136705" cy="3641724"/>
          </a:xfrm>
        </p:spPr>
        <p:txBody>
          <a:bodyPr/>
          <a:lstStyle/>
          <a:p>
            <a:pPr>
              <a:defRPr/>
            </a:pPr>
            <a:r>
              <a:rPr sz="1800" b="1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Angular in Version 11</a:t>
            </a:r>
            <a:endParaRPr sz="1800" b="1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05908" indent="-305908">
              <a:buFont typeface="Arial"/>
              <a:buChar char="•"/>
              <a:defRPr/>
            </a:pPr>
            <a:r>
              <a:rPr sz="1400" b="1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TypeScript statt JavaScript</a:t>
            </a:r>
            <a:endParaRPr sz="1400" b="1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595813" lvl="1" indent="-195764">
              <a:buFont typeface="Arial"/>
              <a:buChar char="•"/>
              <a:defRPr/>
            </a:pPr>
            <a:r>
              <a:rPr sz="1400" b="0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Starke Typisierung weniger Laufzeitfehler</a:t>
            </a:r>
            <a:endParaRPr sz="14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595813" lvl="1" indent="-195764">
              <a:buFont typeface="Arial"/>
              <a:buChar char="•"/>
              <a:defRPr/>
            </a:pPr>
            <a:r>
              <a:rPr sz="1400" b="0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Vereinfachte Wartung</a:t>
            </a:r>
            <a:endParaRPr sz="14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195764" indent="-195764">
              <a:buFont typeface="Arial"/>
              <a:buChar char="•"/>
              <a:defRPr/>
            </a:pPr>
            <a:endParaRPr sz="14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05908" indent="-305908">
              <a:buFont typeface="Arial"/>
              <a:buChar char="•"/>
              <a:defRPr/>
            </a:pPr>
            <a:r>
              <a:rPr sz="1400" b="1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Modulares Entwickeln</a:t>
            </a:r>
            <a:r>
              <a:rPr sz="1400" b="1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endParaRPr sz="1400" b="1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595813" lvl="1" indent="-195764">
              <a:buFont typeface="Arial"/>
              <a:buChar char="•"/>
              <a:defRPr/>
            </a:pPr>
            <a:r>
              <a:rPr sz="1400" b="0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Wiederverwendbare Komponenten</a:t>
            </a:r>
            <a:r>
              <a:rPr sz="1400" b="0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endParaRPr sz="14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595813" lvl="1" indent="-195764">
              <a:buFont typeface="Arial"/>
              <a:buChar char="•"/>
              <a:defRPr/>
            </a:pPr>
            <a:r>
              <a:rPr sz="1400" b="0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Klare Struktur</a:t>
            </a:r>
            <a:endParaRPr sz="14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400050" lvl="1" indent="0">
              <a:buNone/>
              <a:defRPr/>
            </a:pPr>
            <a:endParaRPr sz="14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05908" indent="-305908">
              <a:buFont typeface="Arial"/>
              <a:buChar char="•"/>
              <a:defRPr/>
            </a:pPr>
            <a:r>
              <a:rPr lang="de-DE" sz="1400" b="1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Semantic Versioning</a:t>
            </a:r>
            <a:endParaRPr sz="1400" b="1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595812" lvl="1" indent="-195762">
              <a:buFont typeface="Arial"/>
              <a:buChar char="•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Alle 6 Monate neue Features und Breaking Changes</a:t>
            </a:r>
            <a:endParaRPr sz="14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595812" lvl="1" indent="-195762">
              <a:buFont typeface="Arial"/>
              <a:buChar char="•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Große Community (besonders gut bei OpenSource)</a:t>
            </a:r>
            <a:endParaRPr sz="1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595812" lvl="1" indent="-195762">
              <a:buFont typeface="Arial"/>
              <a:buChar char="•"/>
              <a:defRPr/>
            </a:pPr>
            <a:endParaRPr sz="1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400050" lvl="1" indent="0">
              <a:buNone/>
              <a:defRPr/>
            </a:pPr>
            <a:endParaRPr sz="1400" b="1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/>
        <p:txBody>
          <a:bodyPr/>
          <a:lstStyle>
            <a:lvl1pPr>
              <a:defRPr sz="2200"/>
            </a:lvl1pPr>
            <a:lvl2pPr algn="l">
              <a:defRPr sz="2000"/>
            </a:lvl2pPr>
            <a:lvl3pPr>
              <a:defRPr sz="1800"/>
            </a:lvl3pPr>
          </a:lstStyle>
          <a:p>
            <a:pPr marL="305908" indent="-305908">
              <a:lnSpc>
                <a:spcPct val="150000"/>
              </a:lnSpc>
              <a:buFont typeface="Arial"/>
              <a:buChar char="•"/>
              <a:defRPr/>
            </a:pPr>
            <a:r>
              <a:rPr lang="de-DE" sz="20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Bootstrap</a:t>
            </a:r>
            <a:endParaRPr sz="20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05908" indent="-305908">
              <a:lnSpc>
                <a:spcPct val="150000"/>
              </a:lnSpc>
              <a:buFont typeface="Arial"/>
              <a:buChar char="•"/>
              <a:defRPr/>
            </a:pPr>
            <a:r>
              <a:rPr lang="de-DE" sz="20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git</a:t>
            </a:r>
            <a:endParaRPr sz="2000" b="0" i="0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05908" indent="-305908">
              <a:lnSpc>
                <a:spcPct val="150000"/>
              </a:lnSpc>
              <a:buFont typeface="Arial"/>
              <a:buChar char="•"/>
              <a:defRPr/>
            </a:pPr>
            <a:r>
              <a:rPr lang="de-DE" sz="20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Charts </a:t>
            </a:r>
            <a:endParaRPr lang="de-DE" sz="20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705958" lvl="1" indent="-305908">
              <a:buFont typeface="Arial"/>
              <a:buChar char="•"/>
              <a:defRPr/>
            </a:pPr>
            <a:r>
              <a:rPr lang="de-DE" sz="18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CanvasJS</a:t>
            </a:r>
            <a:endParaRPr lang="de-DE" sz="18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705958" lvl="1" indent="-305908">
              <a:buFont typeface="Arial"/>
              <a:buChar char="•"/>
              <a:defRPr/>
            </a:pPr>
            <a:r>
              <a:rPr lang="de-DE" sz="18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ngx-charts</a:t>
            </a:r>
            <a:endParaRPr lang="de-DE" sz="18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705958" lvl="1" indent="-305908">
              <a:buFont typeface="Arial"/>
              <a:buChar char="•"/>
              <a:defRPr/>
            </a:pPr>
            <a:r>
              <a:rPr lang="de-DE" sz="18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ng2-charts</a:t>
            </a:r>
            <a:endParaRPr lang="de-DE" sz="18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5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6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6EFBEC27-C34B-5BA9-81CF-0D795FC9281E}" type="slidenum">
              <a:rPr lang="de-DE"/>
              <a:t/>
            </a:fld>
            <a:endParaRPr lang="de-DE"/>
          </a:p>
        </p:txBody>
      </p:sp>
      <p:sp>
        <p:nvSpPr>
          <p:cNvPr id="7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7924"/>
            <a:ext cx="8061611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mplementierung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5" cy="359319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AA58FC28-BDBC-3C3F-15C7-5E183C7B3E6A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9935"/>
            <a:ext cx="8063624" cy="381035"/>
          </a:xfrm>
        </p:spPr>
        <p:txBody>
          <a:bodyPr/>
          <a:lstStyle/>
          <a:p>
            <a:pPr>
              <a:defRPr/>
            </a:pPr>
            <a:r>
              <a:rPr sz="2400"/>
              <a:t>Organisation &amp; Zeitplan</a:t>
            </a:r>
            <a:endParaRPr sz="240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48" y="2349498"/>
            <a:ext cx="8136703" cy="3641724"/>
          </a:xfrm>
        </p:spPr>
        <p:txBody>
          <a:bodyPr/>
          <a:lstStyle/>
          <a:p>
            <a:pPr>
              <a:defRPr/>
            </a:pPr>
            <a:r>
              <a:rPr sz="2000" b="0" i="1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Dauer: 15 Wochen (26.11.2020–</a:t>
            </a:r>
            <a:r>
              <a:rPr sz="2000" b="0" i="1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15.03.2021)</a:t>
            </a:r>
            <a:r>
              <a:rPr sz="2000" b="0" i="1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endParaRPr sz="2000" b="0" i="1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0" i="1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ab 3.12 zwei Wochen Rythmus (Anlehnung Scrum): J</a:t>
            </a:r>
            <a:r>
              <a:rPr lang="de-DE" sz="2000" b="0" i="1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our Fixe Mi 16:30</a:t>
            </a:r>
            <a:endParaRPr sz="2000" b="0" i="1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0" i="1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mögliche Feedbackschleifen? Tickets?</a:t>
            </a:r>
            <a:endParaRPr sz="2000" b="0" i="1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0" i="1" u="none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1" i="0" u="none">
                <a:solidFill>
                  <a:schemeClr val="tx2"/>
                </a:solidFill>
                <a:latin typeface="Arial"/>
                <a:ea typeface="Arial"/>
                <a:cs typeface="Arial"/>
              </a:rPr>
              <a:t>3.12</a:t>
            </a:r>
            <a:r>
              <a:rPr sz="2000" b="0" i="0" u="none">
                <a:solidFill>
                  <a:srgbClr val="000000"/>
                </a:solidFill>
                <a:latin typeface="Arial"/>
                <a:ea typeface="Arial"/>
                <a:cs typeface="Arial"/>
              </a:rPr>
              <a:t> </a:t>
            </a:r>
            <a:r>
              <a:rPr lang="de-DE" sz="20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	AngularJS Code verstehen / </a:t>
            </a:r>
            <a:r>
              <a:rPr lang="de-DE" sz="20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Einlesen in vorhandenen Code,</a:t>
            </a:r>
            <a:endParaRPr lang="de-DE" sz="20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		Tickets schreiben, </a:t>
            </a:r>
            <a:r>
              <a:rPr sz="2000" i="0">
                <a:latin typeface="Arial"/>
                <a:ea typeface="Arial"/>
                <a:cs typeface="Arial"/>
              </a:rPr>
              <a:t>finales Design festlegen, </a:t>
            </a:r>
            <a:r>
              <a:rPr lang="de-DE" sz="20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Grundgerüst 	Projekt aufsetzen</a:t>
            </a:r>
            <a:endParaRPr sz="2000" i="0">
              <a:latin typeface="Arial"/>
              <a:ea typeface="Arial"/>
              <a:cs typeface="Arial"/>
            </a:endParaRPr>
          </a:p>
          <a:p>
            <a:pPr>
              <a:defRPr/>
            </a:pPr>
            <a:endParaRPr lang="de-DE" sz="20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17.12</a:t>
            </a: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	</a:t>
            </a:r>
            <a:r>
              <a:rPr sz="2000" i="0">
                <a:latin typeface="Arial"/>
                <a:ea typeface="Arial"/>
                <a:cs typeface="Arial"/>
              </a:rPr>
              <a:t>Stream Filebar, MediaPlayer einbauen, Styles definieren, 	Aufbau der Setting-Komponenten</a:t>
            </a:r>
            <a:r>
              <a:rPr sz="2000" i="0">
                <a:latin typeface="Arial"/>
                <a:ea typeface="Arial"/>
                <a:cs typeface="Arial"/>
              </a:rPr>
              <a:t> (wiederverwenbare Struktur)</a:t>
            </a:r>
            <a:endParaRPr sz="2000" i="0"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i="0"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7.1</a:t>
            </a:r>
            <a:r>
              <a:rPr sz="2000" b="0" i="0">
                <a:solidFill>
                  <a:schemeClr val="tx1"/>
                </a:solidFill>
                <a:latin typeface="Arial"/>
                <a:ea typeface="Arial"/>
                <a:cs typeface="Arial"/>
              </a:rPr>
              <a:t>	erste Komponenten umgesetzt </a:t>
            </a:r>
            <a:endParaRPr sz="2000" b="0" i="0">
              <a:solidFill>
                <a:schemeClr val="tx1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5" cy="359319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93176DB-CD52-EC50-4BE2-F5213B97D817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8675"/>
            <a:ext cx="8062364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mplementierung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rganisation</a:t>
            </a:r>
            <a:endParaRPr sz="240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48" y="2349498"/>
            <a:ext cx="8136703" cy="3641724"/>
          </a:xfrm>
        </p:spPr>
        <p:txBody>
          <a:bodyPr/>
          <a:lstStyle/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14.1 	Abgabe Zwischenpräsentation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23.2</a:t>
            </a: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	Finale Präsentation</a:t>
            </a: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15.3 	Abgabe Dokumentation und Quellcode</a:t>
            </a: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0" i="1">
                <a:solidFill>
                  <a:schemeClr val="tx2"/>
                </a:solidFill>
                <a:latin typeface="Arial"/>
                <a:ea typeface="Arial"/>
                <a:cs typeface="Arial"/>
              </a:rPr>
              <a:t>parallel zur Implementierung soll die Dokumentation befüllt werden</a:t>
            </a:r>
            <a:endParaRPr sz="2000" b="0" i="1">
              <a:solidFill>
                <a:schemeClr val="tx2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ctrTitle" hasCustomPrompt="0"/>
          </p:nvPr>
        </p:nvSpPr>
        <p:spPr bwMode="auto">
          <a:xfrm>
            <a:off x="539551" y="4629000"/>
            <a:ext cx="8496943" cy="384174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subTitle" idx="1" hasCustomPrompt="0"/>
          </p:nvPr>
        </p:nvSpPr>
        <p:spPr bwMode="auto">
          <a:xfrm>
            <a:off x="539749" y="5667340"/>
            <a:ext cx="8061324" cy="281939"/>
          </a:xfrm>
        </p:spPr>
        <p:txBody>
          <a:bodyPr/>
          <a:lstStyle/>
          <a:p>
            <a:pPr>
              <a:defRPr/>
            </a:pPr>
            <a:r>
              <a:rPr lang="de-DE" sz="1800"/>
              <a:t>Anna Mockenhaupt, Berit Frech, Johannes Beyer</a:t>
            </a:r>
            <a:endParaRPr lang="de-DE" sz="18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1DB4E23-CD6B-D414-0B6C-ADC0DE813DBF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9938"/>
            <a:ext cx="8063625" cy="381035"/>
          </a:xfrm>
        </p:spPr>
        <p:txBody>
          <a:bodyPr/>
          <a:lstStyle/>
          <a:p>
            <a:pPr>
              <a:defRPr/>
            </a:pPr>
            <a:r>
              <a:rPr lang="de-DE" sz="2400" b="0"/>
              <a:t>Problemstellung</a:t>
            </a:r>
            <a:endParaRPr sz="2400" b="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 flipH="0" flipV="0">
            <a:off x="539748" y="2204861"/>
            <a:ext cx="7769972" cy="3786361"/>
          </a:xfrm>
        </p:spPr>
        <p:txBody>
          <a:bodyPr/>
          <a:lstStyle/>
          <a:p>
            <a:pPr marL="261850" indent="-261850">
              <a:lnSpc>
                <a:spcPct val="150000"/>
              </a:lnSpc>
              <a:buFont typeface="Arial"/>
              <a:buChar char="•"/>
              <a:defRPr/>
            </a:pPr>
            <a:r>
              <a:rPr sz="1800">
                <a:latin typeface="Arial"/>
                <a:ea typeface="Arial"/>
                <a:cs typeface="Arial"/>
              </a:rPr>
              <a:t>Was ist dash.js?</a:t>
            </a:r>
            <a:endParaRPr sz="1800">
              <a:latin typeface="Arial"/>
              <a:ea typeface="Arial"/>
              <a:cs typeface="Arial"/>
            </a:endParaRPr>
          </a:p>
          <a:p>
            <a:pPr marL="661900" lvl="1" indent="-261850">
              <a:lnSpc>
                <a:spcPct val="150000"/>
              </a:lnSpc>
              <a:buFont typeface="Arial"/>
              <a:buChar char="•"/>
              <a:defRPr/>
            </a:pPr>
            <a:r>
              <a:rPr sz="1600">
                <a:latin typeface="Arial"/>
                <a:ea typeface="Arial"/>
                <a:cs typeface="Arial"/>
              </a:rPr>
              <a:t>JavaScript Player zum Abspielen von MPEG-DASH Content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Font typeface="Arial"/>
              <a:buChar char="•"/>
              <a:defRPr/>
            </a:pPr>
            <a:r>
              <a:rPr sz="1800">
                <a:latin typeface="Arial"/>
                <a:ea typeface="Arial"/>
                <a:cs typeface="Arial"/>
              </a:rPr>
              <a:t>Entwurf und Entwicklung einer neuen Referenz UI für den dash.js Client</a:t>
            </a:r>
            <a:endParaRPr sz="1800">
              <a:latin typeface="Arial"/>
              <a:ea typeface="Arial"/>
              <a:cs typeface="Arial"/>
            </a:endParaRPr>
          </a:p>
          <a:p>
            <a:pPr marL="661900" lvl="1" indent="-261850">
              <a:lnSpc>
                <a:spcPct val="150000"/>
              </a:lnSpc>
              <a:buFont typeface="Arial"/>
              <a:buChar char="•"/>
              <a:defRPr/>
            </a:pPr>
            <a:endParaRPr sz="1600">
              <a:latin typeface="Arial"/>
              <a:ea typeface="Arial"/>
              <a:cs typeface="Arial"/>
            </a:endParaRPr>
          </a:p>
        </p:txBody>
      </p:sp>
      <p:pic>
        <p:nvPicPr>
          <p:cNvPr id="8" name="" hidden="0"/>
          <p:cNvPicPr>
            <a:picLocks noChangeAspect="1"/>
          </p:cNvPicPr>
          <p:nvPr isPhoto="0" userDrawn="0"/>
        </p:nvPicPr>
        <p:blipFill>
          <a:blip r:embed="rId2"/>
          <a:srcRect l="0" t="10383" r="-1456" b="2595"/>
          <a:stretch/>
        </p:blipFill>
        <p:spPr bwMode="auto">
          <a:xfrm flipH="0" flipV="0">
            <a:off x="1976823" y="3403041"/>
            <a:ext cx="4895824" cy="270934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5" cy="359319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00E9B76E-A6CE-DCD8-112D-73869D0DEB09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9037"/>
            <a:ext cx="8062725" cy="381035"/>
          </a:xfrm>
        </p:spPr>
        <p:txBody>
          <a:bodyPr/>
          <a:lstStyle/>
          <a:p>
            <a:pPr>
              <a:defRPr/>
            </a:pPr>
            <a:r>
              <a:rPr lang="de-DE" sz="2400" b="0"/>
              <a:t>Aktuelle UI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/>
              <a:t>Issues</a:t>
            </a:r>
            <a:endParaRPr sz="2400" b="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48" y="2349498"/>
            <a:ext cx="8136704" cy="3641724"/>
          </a:xfrm>
        </p:spPr>
        <p:txBody>
          <a:bodyPr/>
          <a:lstStyle/>
          <a:p>
            <a:pPr marL="261848" indent="-261848">
              <a:lnSpc>
                <a:spcPct val="200000"/>
              </a:lnSpc>
              <a:buAutoNum type="arabicPeriod"/>
              <a:defRPr/>
            </a:pPr>
            <a:r>
              <a:rPr lang="fr-FR" sz="1600">
                <a:latin typeface="Arial"/>
                <a:ea typeface="Arial"/>
                <a:cs typeface="Arial"/>
              </a:rPr>
              <a:t>Alte Frameworks</a:t>
            </a:r>
            <a:endParaRPr lang="fr-FR" sz="1600">
              <a:latin typeface="Arial"/>
              <a:ea typeface="Arial"/>
              <a:cs typeface="Arial"/>
            </a:endParaRPr>
          </a:p>
          <a:p>
            <a:pPr marL="261848" indent="-261848">
              <a:lnSpc>
                <a:spcPct val="200000"/>
              </a:lnSpc>
              <a:buAutoNum type="arabicPeriod"/>
              <a:defRPr/>
            </a:pPr>
            <a:r>
              <a:rPr lang="fr-FR" sz="1600">
                <a:latin typeface="Arial"/>
                <a:ea typeface="Arial"/>
                <a:cs typeface="Arial"/>
              </a:rPr>
              <a:t>überladener Bildschirm / Einstellungen unübersichtlich</a:t>
            </a:r>
            <a:endParaRPr lang="fr-FR" sz="1600">
              <a:latin typeface="Arial"/>
              <a:ea typeface="Arial"/>
              <a:cs typeface="Arial"/>
            </a:endParaRPr>
          </a:p>
          <a:p>
            <a:pPr marL="261847" indent="-261847">
              <a:lnSpc>
                <a:spcPct val="200000"/>
              </a:lnSpc>
              <a:buAutoNum type="arabicPeriod"/>
              <a:defRPr/>
            </a:pPr>
            <a:r>
              <a:rPr lang="fr-FR" sz="1600">
                <a:latin typeface="Arial"/>
                <a:ea typeface="Arial"/>
                <a:cs typeface="Arial"/>
              </a:rPr>
              <a:t>sich gegenseitig ausschließende Einstellungen werden nicht ausgegraut</a:t>
            </a:r>
            <a:endParaRPr sz="1600">
              <a:latin typeface="Arial"/>
              <a:ea typeface="Arial"/>
              <a:cs typeface="Arial"/>
            </a:endParaRPr>
          </a:p>
          <a:p>
            <a:pPr marL="261848" indent="-261848">
              <a:lnSpc>
                <a:spcPct val="200000"/>
              </a:lnSpc>
              <a:buAutoNum type="arabicPeriod"/>
              <a:defRPr/>
            </a:pPr>
            <a:r>
              <a:rPr sz="1600">
                <a:latin typeface="Arial"/>
                <a:ea typeface="Arial"/>
                <a:cs typeface="Arial"/>
              </a:rPr>
              <a:t>Funktionsbeschreibungen fehlen teilweise / nicht sichtbar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sz="1600">
                <a:latin typeface="Arial"/>
                <a:ea typeface="Arial"/>
                <a:cs typeface="Arial"/>
              </a:rPr>
              <a:t>Viele Settings nicht umgesetzt 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sz="1600">
                <a:latin typeface="Arial"/>
                <a:ea typeface="Arial"/>
                <a:cs typeface="Arial"/>
              </a:rPr>
              <a:t>Wenige Einstellungsmöglichkeiten zu Low Latency Mode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sz="1600">
                <a:latin typeface="Arial"/>
                <a:ea typeface="Arial"/>
                <a:cs typeface="Arial"/>
              </a:rPr>
              <a:t>Keine Möglichkeit custom ABR rules einzufügen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AutoNum type="arabicPeriod"/>
              <a:defRPr/>
            </a:pPr>
            <a:endParaRPr sz="1600"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E1249C7A-9C35-39E6-3BA3-D1255C94DFCF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21740"/>
            <a:ext cx="8065427" cy="381035"/>
          </a:xfrm>
        </p:spPr>
        <p:txBody>
          <a:bodyPr/>
          <a:lstStyle/>
          <a:p>
            <a:pPr>
              <a:defRPr/>
            </a:pPr>
            <a:r>
              <a:rPr/>
              <a:t>Aktuelle UI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/>
              <a:t>Features, Settings (1/3)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3"/>
          <a:ext cx="8064523" cy="3726793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350828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etting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17669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logLevel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NONE, FATAL, ERROR, WARNING, INFO, DEBUG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Radio Buttons </a:t>
                      </a:r>
                      <a:endParaRPr sz="1200"/>
                    </a:p>
                  </a:txBody>
                  <a:tcPr/>
                </a:tc>
              </a:tr>
              <a:tr h="560315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cheduleWhile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sz="1200"/>
                        <a:t>Pause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Checkbox</a:t>
                      </a:r>
                      <a:endParaRPr sz="1200"/>
                    </a:p>
                  </a:txBody>
                  <a:tcPr/>
                </a:tc>
              </a:tr>
              <a:tr h="571318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fastSwitchEnable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Checkbox</a:t>
                      </a:r>
                      <a:endParaRPr sz="1200"/>
                    </a:p>
                  </a:txBody>
                  <a:tcPr/>
                </a:tc>
              </a:tr>
              <a:tr h="567087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flushBufferAtTrack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sz="1200"/>
                        <a:t>Switch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true: ALWAYS_REPLACE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sz="1200"/>
                        <a:t>false: NEVER_REPLAC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Radio Buttons for Audio and Video</a:t>
                      </a:r>
                      <a:endParaRPr sz="1200"/>
                    </a:p>
                  </a:txBody>
                  <a:tcPr/>
                </a:tc>
              </a:tr>
              <a:tr h="567087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mpGap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Checkbox</a:t>
                      </a:r>
                      <a:endParaRPr sz="1200"/>
                    </a:p>
                  </a:txBody>
                  <a:tcPr/>
                </a:tc>
              </a:tr>
              <a:tr h="567087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wLatencyEnable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1F26842-F25A-4CC8-259E-C9046AC60BBE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8104"/>
            <a:ext cx="8061791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ktuelle UI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eatures, Settings (2/3)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369877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etting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24018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BRStrategy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YNAMIC, BOLA, 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dio Buttons</a:t>
                      </a:r>
                      <a:endParaRPr sz="1200"/>
                    </a:p>
                  </a:txBody>
                  <a:tcPr/>
                </a:tc>
              </a:tr>
              <a:tr h="566664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DefaultABRRul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</a:t>
                      </a:r>
                      <a:endParaRPr sz="1200"/>
                    </a:p>
                  </a:txBody>
                  <a:tcPr/>
                </a:tc>
              </a:tr>
              <a:tr h="577667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BufferOccupancyAB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dio Button (see ABRStrategy)</a:t>
                      </a:r>
                      <a:endParaRPr sz="1200"/>
                    </a:p>
                  </a:txBody>
                  <a:tcPr/>
                </a:tc>
              </a:tr>
              <a:tr h="57343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xBitrate (audio, video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N, Numbe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s</a:t>
                      </a:r>
                      <a:endParaRPr sz="1200"/>
                    </a:p>
                  </a:txBody>
                  <a:tcPr/>
                </a:tc>
              </a:tr>
              <a:tr h="57343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nBitrate (audio, video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s</a:t>
                      </a:r>
                      <a:endParaRPr sz="1200"/>
                    </a:p>
                  </a:txBody>
                  <a:tcPr/>
                </a:tc>
              </a:tr>
              <a:tr h="57343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lBitrate (audio, video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s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F68DAFA-2A05-F182-3755-E4DC5F160437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184"/>
            <a:ext cx="8062871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ktuelle UI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eatures, Settings (3/3)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388927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Setting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30368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SwitchBitrate (video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</a:t>
                      </a:r>
                      <a:endParaRPr sz="1200"/>
                    </a:p>
                  </a:txBody>
                  <a:tcPr/>
                </a:tc>
              </a:tr>
              <a:tr h="573014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mc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able, disable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D, CID, DI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s</a:t>
                      </a:r>
                      <a:endParaRPr sz="1200"/>
                    </a:p>
                  </a:txBody>
                  <a:tcPr/>
                </a:tc>
              </a:tr>
              <a:tr h="584017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stBitrateCaching</a:t>
                      </a: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fo,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stMediaSetting</a:t>
                      </a: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ching</a:t>
                      </a:r>
                      <a:endParaRPr lang="de-DE" sz="1200" b="0" i="0" u="none" strike="noStrike" cap="none" spc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fo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: Allow Local Storage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AD478F1F-9D9A-11CF-6408-8463E7147452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650"/>
            <a:ext cx="8063338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ktuelle UI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eatures, API Calls (1/2)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388927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API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30368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QualityFor(video, value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lue: 1-10 (0-9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ropdown Menu</a:t>
                      </a:r>
                      <a:endParaRPr sz="1200"/>
                    </a:p>
                  </a:txBody>
                  <a:tcPr/>
                </a:tc>
              </a:tr>
              <a:tr h="573014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AutoPlay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 </a:t>
                      </a:r>
                      <a:endParaRPr sz="1200"/>
                    </a:p>
                  </a:txBody>
                  <a:tcPr/>
                </a:tc>
              </a:tr>
              <a:tr h="584017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Mut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: Speaker Image</a:t>
                      </a:r>
                      <a:endParaRPr sz="1200"/>
                    </a:p>
                  </a:txBody>
                  <a:tcPr/>
                </a:tc>
              </a:tr>
              <a:tr h="57978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use, play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: Speaker</a:t>
                      </a:r>
                      <a:endParaRPr sz="1200"/>
                    </a:p>
                  </a:txBody>
                  <a:tcPr/>
                </a:tc>
              </a:tr>
              <a:tr h="57978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me, duration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eit in ms 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+ convertToTimeCode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eo Control Bar</a:t>
                      </a:r>
                      <a:endParaRPr sz="1200"/>
                    </a:p>
                  </a:txBody>
                  <a:tcPr/>
                </a:tc>
              </a:tr>
              <a:tr h="57978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Volum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uble zwischen 0 und 1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umen Kontrollbar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842A6D7A-1368-6D13-D71A-75F9E49EB2C8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8104"/>
            <a:ext cx="8061791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ktuelle UI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eatures, API Calls (2/2)</a:t>
            </a:r>
            <a:endParaRPr/>
          </a:p>
        </p:txBody>
      </p:sp>
      <p:graphicFrame>
        <p:nvGraphicFramePr>
          <p:cNvPr id="7" name="" hidden="0"/>
          <p:cNvGraphicFramePr>
            <a:graphicFrameLocks xmlns:a="http://schemas.openxmlformats.org/drawingml/2006/main"/>
          </p:cNvGraphicFramePr>
          <p:nvPr isPhoto="0" userDrawn="0"/>
        </p:nvGraphicFramePr>
        <p:xfrm>
          <a:off x="539748" y="2308442"/>
          <a:ext cx="8064523" cy="3726792"/>
        </p:xfrm>
        <a:graphic>
          <a:graphicData uri="http://schemas.openxmlformats.org/drawingml/2006/table">
            <a:tbl>
              <a:tblPr firstRow="1" firstCol="0" lastRow="0" lastCol="0" bandRow="1" bandCol="0">
                <a:tableStyleId>{FF3BC916-2437-2F1B-356F-283F031CD9C4}</a:tableStyleId>
              </a:tblPr>
              <a:tblGrid>
                <a:gridCol w="2160000"/>
                <a:gridCol w="2700000"/>
                <a:gridCol w="3191823"/>
              </a:tblGrid>
              <a:tr h="407977"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API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Values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sz="1200"/>
                        <a:t>UI</a:t>
                      </a:r>
                      <a:endParaRPr sz="1200"/>
                    </a:p>
                  </a:txBody>
                  <a:tcPr/>
                </a:tc>
              </a:tr>
              <a:tr h="536718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TrackSwitchModeFor</a:t>
                      </a:r>
                      <a:endParaRPr lang="de-DE" sz="1200" b="0" i="0" u="none" strike="noStrike" cap="none" spc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type, mode)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VER_REPLACE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WAYS_REPLAC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dio Buttons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siehe </a:t>
                      </a: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ushBufferAtTrack</a:t>
                      </a: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witch)</a:t>
                      </a:r>
                      <a:endParaRPr sz="1200"/>
                    </a:p>
                  </a:txBody>
                  <a:tcPr/>
                </a:tc>
              </a:tr>
              <a:tr h="579364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TextDefaultEnabled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: Enable Text at Loading</a:t>
                      </a:r>
                      <a:endParaRPr sz="1200"/>
                    </a:p>
                  </a:txBody>
                  <a:tcPr/>
                </a:tc>
              </a:tr>
              <a:tr h="59036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ableForcedTextStreaming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box: Force Text Streaming</a:t>
                      </a:r>
                      <a:endParaRPr sz="1200"/>
                    </a:p>
                  </a:txBody>
                  <a:tcPr/>
                </a:tc>
              </a:tr>
              <a:tr h="58613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TextDefaultLanguage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put Field</a:t>
                      </a:r>
                      <a:endParaRPr sz="1200"/>
                    </a:p>
                  </a:txBody>
                  <a:tcPr/>
                </a:tc>
              </a:tr>
              <a:tr h="586136"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ProtectionData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 false</a:t>
                      </a:r>
                      <a:endParaRPr sz="1200"/>
                    </a:p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+ ProtectionDataSet</a:t>
                      </a:r>
                      <a:endParaRPr sz="12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defRPr/>
                      </a:pPr>
                      <a:r>
                        <a:rPr lang="de-DE" sz="1200" b="0" i="0" u="none" strike="noStrike" cap="none" spc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RM Checkbox + Input Fields</a:t>
                      </a:r>
                      <a:endParaRPr sz="12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TU_PPT_Master_mitBild_V03_Hausec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Larissa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xfrm>
          <a:off x="0" y="0"/>
          <a:ext cx="1" cy="1"/>
        </a:xfrm>
        <a:prstGeom prst="rect">
          <a:avLst/>
        </a:pr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/>
      <a:lstStyle/>
    </a:spDef>
    <a:lnDef>
      <a:spPr bwMode="auto">
        <a:xfrm>
          <a:off x="0" y="0"/>
          <a:ext cx="1" cy="1"/>
        </a:xfrm>
        <a:prstGeom prst="rect">
          <a:avLst/>
        </a:pr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accent1="accent1" accent2="accent2" accent3="accent3" accent4="accent4" accent5="accent5" accent6="accent6" bg1="lt1" bg2="lt2" folHlink="folHlink" hlink="hlink" tx1="dk1" tx2="dk2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3_Hausecke</Template>
  <TotalTime>0</TotalTime>
  <Words>0</Words>
  <Application>ONLYOFFICE/5.5.3.39</Application>
  <DocSecurity>0</DocSecurity>
  <PresentationFormat>Bildschirmpräsentation (4:3)</PresentationFormat>
  <Paragraphs>0</Paragraphs>
  <Slides>24</Slides>
  <Notes>24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subject/>
  <dc:creator>Jonas</dc:creator>
  <cp:keywords/>
  <dc:description/>
  <dc:identifier/>
  <dc:language/>
  <cp:lastModifiedBy>johannes.beyer@campus.tu-berlin.de</cp:lastModifiedBy>
  <cp:revision>238</cp:revision>
  <dcterms:created xsi:type="dcterms:W3CDTF">2020-11-19T11:56:24Z</dcterms:created>
  <dcterms:modified xsi:type="dcterms:W3CDTF">2020-11-24T09:27:57Z</dcterms:modified>
  <cp:category/>
  <cp:contentStatus/>
  <cp:version/>
</cp:coreProperties>
</file>